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8" r:id="rId6"/>
    <p:sldMasterId id="2147483745" r:id="rId7"/>
    <p:sldMasterId id="2147483648" r:id="rId8"/>
  </p:sldMasterIdLst>
  <p:notesMasterIdLst>
    <p:notesMasterId r:id="rId12"/>
  </p:notesMasterIdLst>
  <p:sldIdLst>
    <p:sldId id="2147481354" r:id="rId9"/>
    <p:sldId id="2147481353" r:id="rId10"/>
    <p:sldId id="2147481340" r:id="rId11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6" d="100"/>
          <a:sy n="96" d="100"/>
        </p:scale>
        <p:origin x="115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8017182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794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bee-together.jp/course/view.php?id=18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bee-together.jp/course/view.php?id=18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AF435FA3-A778-0432-1962-37557DC66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E3D1273-210D-5029-D663-0F8E9CDC3EE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ja-JP" altLang="en-US" sz="11500" b="1"/>
              <a:t>教員向け指導案</a:t>
            </a:r>
            <a:br>
              <a:rPr lang="en-US" altLang="ja-JP" sz="11500" b="1"/>
            </a:br>
            <a:r>
              <a:rPr lang="ja-JP" altLang="en-US" sz="11500" b="1"/>
              <a:t>問題解決セミナー</a:t>
            </a:r>
            <a:endParaRPr kumimoji="1" lang="ja-JP" altLang="en-US" sz="11500" b="1" dirty="0" err="1"/>
          </a:p>
        </p:txBody>
      </p:sp>
    </p:spTree>
    <p:extLst>
      <p:ext uri="{BB962C8B-B14F-4D97-AF65-F5344CB8AC3E}">
        <p14:creationId xmlns:p14="http://schemas.microsoft.com/office/powerpoint/2010/main" val="2808352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C34CD9-D830-5E8A-C2A6-B13CE4F367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98CABF9-17A9-ED29-37AE-A3AB19920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 anchor="ctr">
            <a:normAutofit/>
          </a:bodyPr>
          <a:lstStyle/>
          <a:p>
            <a:pPr algn="ctr"/>
            <a:r>
              <a:rPr lang="ja-JP" altLang="en-US" dirty="0">
                <a:hlinkClick r:id="rId2"/>
              </a:rPr>
              <a:t>教員向け指導案　</a:t>
            </a:r>
            <a:br>
              <a:rPr lang="en-US" altLang="ja-JP" dirty="0">
                <a:hlinkClick r:id="rId2"/>
              </a:rPr>
            </a:br>
            <a:r>
              <a:rPr lang="ja-JP" altLang="en-US" dirty="0">
                <a:hlinkClick r:id="rId2"/>
              </a:rPr>
              <a:t>問題解決セミナー「揚げまんじゅう店の課題とは」</a:t>
            </a:r>
            <a:endParaRPr kumimoji="1" lang="ja-JP" altLang="en-US" dirty="0"/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AC2BF6F9-3401-5CAA-0FB5-4B5E70F9BD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1F90F471-3972-4120-B8B3-0237DE626C35}" type="slidenum">
              <a:rPr lang="en-US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endParaRPr lang="en-US" sz="70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877869C-496A-CF72-CA10-F7564F9AE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6" r="10276" b="-2"/>
          <a:stretch>
            <a:fillRect/>
          </a:stretch>
        </p:blipFill>
        <p:spPr bwMode="auto">
          <a:xfrm>
            <a:off x="652662" y="1450571"/>
            <a:ext cx="5022273" cy="395685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D08287ED-EF69-C3F6-BE99-00584AFAE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" r="11178" b="-1"/>
          <a:stretch>
            <a:fillRect/>
          </a:stretch>
        </p:blipFill>
        <p:spPr bwMode="auto">
          <a:xfrm>
            <a:off x="6558162" y="1450571"/>
            <a:ext cx="5022273" cy="395685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826C3E76-8248-3505-A809-EFFF17073E1F}"/>
              </a:ext>
            </a:extLst>
          </p:cNvPr>
          <p:cNvSpPr txBox="1"/>
          <p:nvPr/>
        </p:nvSpPr>
        <p:spPr>
          <a:xfrm>
            <a:off x="1260725" y="5486400"/>
            <a:ext cx="919794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【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コンテンツの進め方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】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この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Course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では、以下の進め方を推奨しております。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1) 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セルフワーク教材（揚げまんじゅう店の抱える課題とは）の閲覧しながらワークシートへ回答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　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2) 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学習後アンケートの提出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987F658-AFEE-D7F3-ABE8-EE3DE0666A17}"/>
              </a:ext>
            </a:extLst>
          </p:cNvPr>
          <p:cNvSpPr txBox="1"/>
          <p:nvPr/>
        </p:nvSpPr>
        <p:spPr>
          <a:xfrm>
            <a:off x="7702930" y="6496433"/>
            <a:ext cx="4154905" cy="2910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kumimoji="1" lang="en-US" altLang="ja-JP" sz="1400" noProof="0" dirty="0"/>
              <a:t>※</a:t>
            </a:r>
            <a:r>
              <a:rPr kumimoji="1" lang="ja-JP" altLang="en-US" sz="1400" noProof="0" dirty="0"/>
              <a:t>利用には無料会員登録が必要に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2431052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9EA80-1492-5C59-AFEB-CEC0A35F3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US" altLang="ja-JP" sz="4000" dirty="0">
                <a:solidFill>
                  <a:srgbClr val="192F72"/>
                </a:solidFill>
              </a:rPr>
            </a:br>
            <a:r>
              <a:rPr lang="ja-JP" altLang="en-US" sz="4000" dirty="0">
                <a:solidFill>
                  <a:srgbClr val="192F72"/>
                </a:solidFill>
                <a:hlinkClick r:id="rId2"/>
              </a:rPr>
              <a:t>指導案詳細はこちらをクリック！</a:t>
            </a:r>
            <a:br>
              <a:rPr kumimoji="1" lang="en-US" altLang="ja-JP" sz="4000" dirty="0">
                <a:solidFill>
                  <a:srgbClr val="192F72"/>
                </a:solidFill>
              </a:rPr>
            </a:br>
            <a:r>
              <a:rPr kumimoji="1" lang="en-US" altLang="ja-JP" sz="4000" dirty="0">
                <a:solidFill>
                  <a:srgbClr val="192F72"/>
                </a:solidFill>
              </a:rPr>
              <a:t>※</a:t>
            </a:r>
            <a:r>
              <a:rPr kumimoji="1" lang="ja-JP" altLang="en-US" sz="40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92320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99F1122-9C85-474C-80D7-BE37AB426767}">
  <we:reference id="12cf32e2-483a-4204-b71b-bf2af83debf2" version="1.2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D7DDA8DF56D04FA713252812CA3FCB" ma:contentTypeVersion="18" ma:contentTypeDescription="Create a new document." ma:contentTypeScope="" ma:versionID="cfb07f37d28ab232d7b8e55cbf44ed7d">
  <xsd:schema xmlns:xsd="http://www.w3.org/2001/XMLSchema" xmlns:xs="http://www.w3.org/2001/XMLSchema" xmlns:p="http://schemas.microsoft.com/office/2006/metadata/properties" xmlns:ns2="8bfc3d79-29c4-473a-9698-926f22136cb6" xmlns:ns3="be4028e4-8fc5-4b13-8dd8-d45891091dfb" targetNamespace="http://schemas.microsoft.com/office/2006/metadata/properties" ma:root="true" ma:fieldsID="d57f7eb398d784fd859f3ce9ab686010" ns2:_="" ns3:_="">
    <xsd:import namespace="8bfc3d79-29c4-473a-9698-926f22136cb6"/>
    <xsd:import namespace="be4028e4-8fc5-4b13-8dd8-d45891091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fc3d79-29c4-473a-9698-926f22136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4028e4-8fc5-4b13-8dd8-d45891091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557aa36-1df3-4b41-a8e9-d98e519eec03}" ma:internalName="TaxCatchAll" ma:showField="CatchAllData" ma:web="be4028e4-8fc5-4b13-8dd8-d45891091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e4028e4-8fc5-4b13-8dd8-d45891091dfb" xsi:nil="true"/>
    <lcf76f155ced4ddcb4097134ff3c332f xmlns="8bfc3d79-29c4-473a-9698-926f22136cb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C1618D8-1B14-47F2-86A2-46CA4BD231AC}">
  <ds:schemaRefs>
    <ds:schemaRef ds:uri="8bfc3d79-29c4-473a-9698-926f22136cb6"/>
    <ds:schemaRef ds:uri="be4028e4-8fc5-4b13-8dd8-d45891091d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25256C-92B0-428C-9925-EF35CA18D5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E42D44-8F53-4BE1-83D7-D861A317DCFA}">
  <ds:schemaRefs>
    <ds:schemaRef ds:uri="http://purl.org/dc/elements/1.1/"/>
    <ds:schemaRef ds:uri="http://schemas.microsoft.com/office/2006/documentManagement/types"/>
    <ds:schemaRef ds:uri="8bfc3d79-29c4-473a-9698-926f22136cb6"/>
    <ds:schemaRef ds:uri="http://schemas.microsoft.com/office/2006/metadata/properties"/>
    <ds:schemaRef ds:uri="http://purl.org/dc/terms/"/>
    <ds:schemaRef ds:uri="be4028e4-8fc5-4b13-8dd8-d45891091dfb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806</TotalTime>
  <Words>103</Words>
  <Application>Microsoft Office PowerPoint</Application>
  <PresentationFormat>ワイド画面</PresentationFormat>
  <Paragraphs>7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4" baseType="lpstr">
      <vt:lpstr>Meiryo UI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教員向け指導案　 問題解決セミナー「揚げまんじゅう店の課題とは」</vt:lpstr>
      <vt:lpstr> 指導案詳細はこちらをクリック！ ※掲載ページ下の説明欄にもリンクあ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E アジェンダとその他討議事項</dc:title>
  <dc:creator>Kamatani, Karin</dc:creator>
  <cp:lastModifiedBy>Nagano, Sakura</cp:lastModifiedBy>
  <cp:revision>25</cp:revision>
  <dcterms:created xsi:type="dcterms:W3CDTF">2024-08-07T03:55:19Z</dcterms:created>
  <dcterms:modified xsi:type="dcterms:W3CDTF">2025-09-01T08:0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D7DDA8DF56D04FA713252812CA3FCB</vt:lpwstr>
  </property>
  <property fmtid="{D5CDD505-2E9C-101B-9397-08002B2CF9AE}" pid="3" name="MediaServiceImageTags">
    <vt:lpwstr/>
  </property>
</Properties>
</file>